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</p:sldMasterIdLst>
  <p:notesMasterIdLst>
    <p:notesMasterId r:id="rId16"/>
  </p:notesMasterIdLst>
  <p:sldIdLst>
    <p:sldId id="3284" r:id="rId5"/>
    <p:sldId id="2569" r:id="rId6"/>
    <p:sldId id="3275" r:id="rId7"/>
    <p:sldId id="3290" r:id="rId8"/>
    <p:sldId id="2542" r:id="rId9"/>
    <p:sldId id="3291" r:id="rId10"/>
    <p:sldId id="3277" r:id="rId11"/>
    <p:sldId id="3292" r:id="rId12"/>
    <p:sldId id="3293" r:id="rId13"/>
    <p:sldId id="3294" r:id="rId14"/>
    <p:sldId id="2558" r:id="rId15"/>
  </p:sldIdLst>
  <p:sldSz cx="9144000" cy="5143500" type="screen16x9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8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uettner, Arne" initials="GA" lastIdx="10" clrIdx="0">
    <p:extLst>
      <p:ext uri="{19B8F6BF-5375-455C-9EA6-DF929625EA0E}">
        <p15:presenceInfo xmlns:p15="http://schemas.microsoft.com/office/powerpoint/2012/main" userId="S::Arne.Gruettner@unisg.ch::2971ee8c-595f-49a9-a08f-823427620ef2" providerId="AD"/>
      </p:ext>
    </p:extLst>
  </p:cmAuthor>
  <p:cmAuthor id="2" name="Beyer, Samuel" initials="BS" lastIdx="1" clrIdx="1">
    <p:extLst>
      <p:ext uri="{19B8F6BF-5375-455C-9EA6-DF929625EA0E}">
        <p15:presenceInfo xmlns:p15="http://schemas.microsoft.com/office/powerpoint/2012/main" userId="S::samuel.beyer@student.unisg.ch::d8fe2b17-9273-41df-a496-02f403512a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41E"/>
    <a:srgbClr val="9DE7C6"/>
    <a:srgbClr val="249662"/>
    <a:srgbClr val="7F7F7F"/>
    <a:srgbClr val="0067B1"/>
    <a:srgbClr val="95C7E8"/>
    <a:srgbClr val="8FBFA9"/>
    <a:srgbClr val="76BEEA"/>
    <a:srgbClr val="EF4023"/>
    <a:srgbClr val="FFD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889"/>
    <p:restoredTop sz="95788"/>
  </p:normalViewPr>
  <p:slideViewPr>
    <p:cSldViewPr snapToGrid="0">
      <p:cViewPr varScale="1">
        <p:scale>
          <a:sx n="125" d="100"/>
          <a:sy n="125" d="100"/>
        </p:scale>
        <p:origin x="176" y="464"/>
      </p:cViewPr>
      <p:guideLst>
        <p:guide orient="horz" pos="1620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2D8B8C-A07F-4F86-91C0-8300805952DE}" type="datetimeFigureOut">
              <a:rPr lang="de-DE" smtClean="0"/>
              <a:pPr/>
              <a:t>23.05.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81C78C-DF60-43AA-9025-896AF7F51202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3669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81C78C-DF60-43AA-9025-896AF7F51202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39291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627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50667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605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01040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14340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1501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79512" y="975658"/>
            <a:ext cx="8751600" cy="28597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CH"/>
              <a:t>Titelbild</a:t>
            </a:r>
            <a:endParaRPr lang="en-US"/>
          </a:p>
        </p:txBody>
      </p:sp>
      <p:pic>
        <p:nvPicPr>
          <p:cNvPr id="1026" name="Picture 2" descr="Bildergebnis fÃ¼r from insight to impac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939" y="4494378"/>
            <a:ext cx="1505173" cy="29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94037"/>
            <a:ext cx="1944216" cy="704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791580" y="1216968"/>
            <a:ext cx="7560840" cy="3260898"/>
          </a:xfrm>
          <a:prstGeom prst="rect">
            <a:avLst/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pic>
        <p:nvPicPr>
          <p:cNvPr id="11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911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8532626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251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8696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1"/>
          </p:nvPr>
        </p:nvSpPr>
        <p:spPr>
          <a:xfrm>
            <a:off x="4641844" y="934617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2878163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578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afula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350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13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84986A-2463-A242-B256-5936AABCAC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3"/>
            <a:ext cx="8569325" cy="4033827"/>
          </a:xfrm>
          <a:prstGeom prst="rect">
            <a:avLst/>
          </a:prstGeom>
        </p:spPr>
        <p:txBody>
          <a:bodyPr/>
          <a:lstStyle>
            <a:lvl1pP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56208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3072">
          <p15:clr>
            <a:srgbClr val="FBAE40"/>
          </p15:clr>
        </p15:guide>
        <p15:guide id="6" orient="horz" pos="53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4B1072E-7971-FC4E-BAC1-AD8436269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68320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4B1072E-7971-FC4E-BAC1-AD8436269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0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p:hf hdr="0" ftr="0" dt="0"/>
  <p:txStyles>
    <p:titleStyle>
      <a:lvl1pPr algn="l" defTabSz="685783" rtl="0" eaLnBrk="1" latinLnBrk="0" hangingPunct="1">
        <a:spcBef>
          <a:spcPct val="0"/>
        </a:spcBef>
        <a:buNone/>
        <a:defRPr sz="22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685783" rtl="0" eaLnBrk="1" latinLnBrk="0" hangingPunct="1">
        <a:spcBef>
          <a:spcPct val="2000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philipp-schmelzer-hsg.shinyapps.io/shiny/" TargetMode="External"/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0D1EDE-7116-2443-9BDD-368CE5B3766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TextBox 157"/>
          <p:cNvSpPr txBox="1"/>
          <p:nvPr/>
        </p:nvSpPr>
        <p:spPr>
          <a:xfrm>
            <a:off x="706210" y="3244456"/>
            <a:ext cx="3171702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hilipp Schmelzer, </a:t>
            </a:r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Masterarbeit</a:t>
            </a:r>
          </a:p>
          <a:p>
            <a:endParaRPr lang="de-CH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Datum</a:t>
            </a:r>
          </a:p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endParaRPr lang="en-US" sz="1000" dirty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711587" y="1191525"/>
            <a:ext cx="4336663" cy="1446550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Evaluierung des Prototypen </a:t>
            </a:r>
          </a:p>
          <a:p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Name</a:t>
            </a:r>
          </a:p>
          <a:p>
            <a:r>
              <a:rPr lang="de-CH" sz="1600" b="1" dirty="0">
                <a:latin typeface="Arial" panose="020B0604020202020204" pitchFamily="34" charset="0"/>
                <a:cs typeface="Arial" panose="020B0604020202020204" pitchFamily="34" charset="0"/>
              </a:rPr>
              <a:t>Funktion</a:t>
            </a: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706210" y="2975133"/>
            <a:ext cx="907551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587" y="541589"/>
            <a:ext cx="2305937" cy="490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7D65259-F36B-B846-B203-6B677EF5860D}"/>
              </a:ext>
            </a:extLst>
          </p:cNvPr>
          <p:cNvGrpSpPr/>
          <p:nvPr/>
        </p:nvGrpSpPr>
        <p:grpSpPr>
          <a:xfrm>
            <a:off x="3683489" y="0"/>
            <a:ext cx="5460511" cy="5143500"/>
            <a:chOff x="3683489" y="0"/>
            <a:chExt cx="5460511" cy="5143500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A851924-462B-474D-A182-F8EBC415A5DB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/>
            <a:srcRect l="32253"/>
            <a:stretch/>
          </p:blipFill>
          <p:spPr>
            <a:xfrm>
              <a:off x="3683489" y="0"/>
              <a:ext cx="5460510" cy="5143500"/>
            </a:xfrm>
            <a:prstGeom prst="parallelogram">
              <a:avLst>
                <a:gd name="adj" fmla="val 48178"/>
              </a:avLst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5D0D2A9F-C9AF-5E4F-B2B3-DA62205A95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7857"/>
            <a:stretch/>
          </p:blipFill>
          <p:spPr>
            <a:xfrm>
              <a:off x="6553200" y="0"/>
              <a:ext cx="2590800" cy="5143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251929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BSCHLUSS DES INTERVIEW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Kennen Sie weitere Personen, die für ein Interview bereitstehen würden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Klärung letzter Fragen und </a:t>
            </a:r>
            <a:r>
              <a:rPr lang="de-DE" sz="1400" dirty="0" err="1"/>
              <a:t>Verdankung</a:t>
            </a:r>
            <a:r>
              <a:rPr lang="de-DE" sz="1400" dirty="0"/>
              <a:t> des Interviewpartners </a:t>
            </a:r>
          </a:p>
        </p:txBody>
      </p:sp>
    </p:spTree>
    <p:extLst>
      <p:ext uri="{BB962C8B-B14F-4D97-AF65-F5344CB8AC3E}">
        <p14:creationId xmlns:p14="http://schemas.microsoft.com/office/powerpoint/2010/main" val="6378582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996C0274-6751-BB40-A65C-308D23A1371C}"/>
              </a:ext>
            </a:extLst>
          </p:cNvPr>
          <p:cNvSpPr txBox="1"/>
          <p:nvPr/>
        </p:nvSpPr>
        <p:spPr>
          <a:xfrm>
            <a:off x="972000" y="2248584"/>
            <a:ext cx="72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b="1">
                <a:solidFill>
                  <a:schemeClr val="tx2"/>
                </a:solidFill>
              </a:rPr>
              <a:t>HERZLICHEN DANK</a:t>
            </a:r>
            <a:endParaRPr lang="en-US" sz="3600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664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E3EC20C-599D-9344-B7EF-7DAEF7CB2C81}"/>
              </a:ext>
            </a:extLst>
          </p:cNvPr>
          <p:cNvSpPr/>
          <p:nvPr/>
        </p:nvSpPr>
        <p:spPr>
          <a:xfrm>
            <a:off x="287338" y="3432972"/>
            <a:ext cx="2772494" cy="1587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358003-7FDF-3145-ABEA-D261144DFF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4"/>
            <a:ext cx="2628469" cy="2590008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1600" b="1" dirty="0"/>
              <a:t>Der Interview-Prozes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 err="1"/>
              <a:t>Begrüssung</a:t>
            </a:r>
            <a:endParaRPr lang="de-DE" sz="1400" dirty="0"/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Dauer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Aufnahme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Geplanter Ablauf für das Interview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100C3D-9798-2A4B-9D0B-EEACD495CB72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>
                <a:solidFill>
                  <a:schemeClr val="tx2"/>
                </a:solidFill>
              </a:rPr>
              <a:t>AGENDA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4EB8191-B6C0-3E43-8681-DBE27A490063}"/>
              </a:ext>
            </a:extLst>
          </p:cNvPr>
          <p:cNvSpPr/>
          <p:nvPr/>
        </p:nvSpPr>
        <p:spPr>
          <a:xfrm>
            <a:off x="3419878" y="842963"/>
            <a:ext cx="543678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Das Interview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Ziele des Interview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Testen der </a:t>
            </a:r>
            <a:r>
              <a:rPr lang="de-DE" sz="1400" dirty="0" err="1"/>
              <a:t>Shiny-Webapp</a:t>
            </a:r>
            <a:endParaRPr lang="de-DE" sz="1400" dirty="0"/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uswertung der Funktionalität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schluss des Interview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14F763E2-8A2C-D346-BA8B-FCC2E7CC7250}"/>
              </a:ext>
            </a:extLst>
          </p:cNvPr>
          <p:cNvCxnSpPr>
            <a:cxnSpLocks/>
          </p:cNvCxnSpPr>
          <p:nvPr/>
        </p:nvCxnSpPr>
        <p:spPr>
          <a:xfrm>
            <a:off x="3059832" y="9155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94D9A37F-BC91-E94A-8510-252BEC914FF4}"/>
              </a:ext>
            </a:extLst>
          </p:cNvPr>
          <p:cNvSpPr/>
          <p:nvPr/>
        </p:nvSpPr>
        <p:spPr>
          <a:xfrm>
            <a:off x="1106633" y="4439263"/>
            <a:ext cx="131409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10-15 </a:t>
            </a:r>
            <a:r>
              <a:rPr lang="de-CH" sz="1500" b="1" dirty="0">
                <a:solidFill>
                  <a:prstClr val="black"/>
                </a:solidFill>
                <a:latin typeface="Calibri"/>
              </a:rPr>
              <a:t>mi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99EE45-02B7-034F-91E4-4A44B661A92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99" t="19585" r="17801" b="17800"/>
          <a:stretch/>
        </p:blipFill>
        <p:spPr>
          <a:xfrm>
            <a:off x="513927" y="4395623"/>
            <a:ext cx="411513" cy="40011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E224690-A491-B944-A4CC-4EDBD452E3EA}"/>
              </a:ext>
            </a:extLst>
          </p:cNvPr>
          <p:cNvSpPr/>
          <p:nvPr/>
        </p:nvSpPr>
        <p:spPr>
          <a:xfrm>
            <a:off x="527305" y="3736062"/>
            <a:ext cx="398135" cy="40011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E9A07EA-A456-AA44-8A14-1D635E7251B4}"/>
              </a:ext>
            </a:extLst>
          </p:cNvPr>
          <p:cNvSpPr/>
          <p:nvPr/>
        </p:nvSpPr>
        <p:spPr>
          <a:xfrm>
            <a:off x="1077890" y="3659118"/>
            <a:ext cx="16219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Aufnahme des Interviews</a:t>
            </a:r>
          </a:p>
        </p:txBody>
      </p: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A8F5DEB4-9382-4B46-A7AE-1E635A078416}"/>
              </a:ext>
            </a:extLst>
          </p:cNvPr>
          <p:cNvSpPr/>
          <p:nvPr/>
        </p:nvSpPr>
        <p:spPr>
          <a:xfrm>
            <a:off x="2861812" y="2575598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274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MEINE PERSON / AUSGANGSLAGE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Vorstellung Masterarbeitsthema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Programmierung von Vorhersagemodellen, die den Bedarf an Gerichten und Lebensmitteln berech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führung dieser Daten in verständliche „Sprache“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ntwicklung einer Visualisierung oder Benutzeroberfläche, um diese Ergebnisse in nutzbarer Weise darstellen zu kön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Ableitung von Design Prinzipien, die dieser Umwandlung zugrunde liegen und dem Endnutzer helfen die Daten zu versteh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4016829"/>
            <a:ext cx="4933950" cy="678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Ziel für dieses Interview: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in der täglichen Verwendung</a:t>
            </a:r>
          </a:p>
        </p:txBody>
      </p:sp>
    </p:spTree>
    <p:extLst>
      <p:ext uri="{BB962C8B-B14F-4D97-AF65-F5344CB8AC3E}">
        <p14:creationId xmlns:p14="http://schemas.microsoft.com/office/powerpoint/2010/main" val="2819338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ZIELE DES INTERVIEW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Ziele für das Interview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Testen der Funktionalität der entwickelten Web-Applikation, um festzustellen, ob sie für die tägliche Anwendung geeignet ist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prüfung der Applikation auf verschiedene Faktoren wie z.B. Nachvollziehbarkeit der Resultate, Vertrauenswürdigkeit der Empfehlungen, Einfachheit der Bedienung etc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inholen von Feedback für die Weiterentwicklung der Applikatio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3657601"/>
            <a:ext cx="4933950" cy="10382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Leitfrage für dieses Interview: </a:t>
            </a:r>
          </a:p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Stimmt die Applikation mit den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für die täglichen Verwendung überein?</a:t>
            </a:r>
          </a:p>
        </p:txBody>
      </p:sp>
    </p:spTree>
    <p:extLst>
      <p:ext uri="{BB962C8B-B14F-4D97-AF65-F5344CB8AC3E}">
        <p14:creationId xmlns:p14="http://schemas.microsoft.com/office/powerpoint/2010/main" val="14487467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31376"/>
              </p:ext>
            </p:ext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4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ERKLÄRUNG DER APPLIKATION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Link zur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Webapp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: </a:t>
            </a:r>
            <a:r>
              <a:rPr lang="de-DE" sz="1400" dirty="0">
                <a:solidFill>
                  <a:schemeClr val="tx1"/>
                </a:solidFill>
                <a:latin typeface="Calibri"/>
                <a:hlinkClick r:id="rId8"/>
              </a:rPr>
              <a:t>https://philipp-schmelzer-hsg.shinyapps.io/shiny/</a:t>
            </a: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</a:rPr>
              <a:t>Kurze Erklärung der Applikatio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Drei Menüvoraussagen für die nächsten 28 Tage basierend auf historischen Daten und weiteren Faktoren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darfsvorhersage für einen oder für fünf ausgewählte Tag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darfsverlauf der verschiedenen angebotenen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rklärungen, die im Detail die Funktionsweise der Applikation beschreibt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ingabemaske, mit der das Datum ausgewählt und der Bedarf an Menüs angepasst werden kann.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dirty="0">
                <a:solidFill>
                  <a:schemeClr val="tx1"/>
                </a:solidFill>
                <a:latin typeface="Calibri"/>
              </a:rPr>
              <a:t>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Überprüfung der Gestaltung und Struktur der App auf verschiedene Faktoren</a:t>
            </a:r>
          </a:p>
        </p:txBody>
      </p:sp>
    </p:spTree>
    <p:extLst>
      <p:ext uri="{BB962C8B-B14F-4D97-AF65-F5344CB8AC3E}">
        <p14:creationId xmlns:p14="http://schemas.microsoft.com/office/powerpoint/2010/main" val="42684824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7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TESTEN DER APPLIKATION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</a:rPr>
              <a:t>Der Interviewte soll folgende Operationen auf der App ausführen: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gutachtung der vorgeschlagenen drei Menüs auf Tages- und Wochenbasi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uswahl eines bestimmten Tages / 5 Tage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passung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passung Bedarf eines Menüs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erständnis der Icons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Verständnis des Bedarfsverlaufs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Ändern der betrachteten Menüs im Bedarfsverlauf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Begutachtung der Erklärungen</a:t>
            </a: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r>
              <a:rPr lang="de-DE" sz="1400" dirty="0">
                <a:solidFill>
                  <a:schemeClr val="tx1"/>
                </a:solidFill>
                <a:latin typeface="Calibri"/>
              </a:rPr>
              <a:t>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Überprüfung der Gestaltung und Struktur der App auf verschiedene Faktoren</a:t>
            </a:r>
          </a:p>
        </p:txBody>
      </p:sp>
    </p:spTree>
    <p:extLst>
      <p:ext uri="{BB962C8B-B14F-4D97-AF65-F5344CB8AC3E}">
        <p14:creationId xmlns:p14="http://schemas.microsoft.com/office/powerpoint/2010/main" val="39744127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3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USWERTUNG DER FUNKTIONALITÄ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bzgl. Nutzbarkeit im täglichen Geschäft erhalten</a:t>
            </a:r>
          </a:p>
        </p:txBody>
      </p:sp>
      <p:graphicFrame>
        <p:nvGraphicFramePr>
          <p:cNvPr id="2" name="Tabelle 2">
            <a:extLst>
              <a:ext uri="{FF2B5EF4-FFF2-40B4-BE49-F238E27FC236}">
                <a16:creationId xmlns:a16="http://schemas.microsoft.com/office/drawing/2014/main" id="{BCECCD8E-9B10-E141-BEEB-20EDDD97EB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777378"/>
              </p:ext>
            </p:extLst>
          </p:nvPr>
        </p:nvGraphicFramePr>
        <p:xfrm>
          <a:off x="477715" y="1273810"/>
          <a:ext cx="8191500" cy="3289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04039">
                  <a:extLst>
                    <a:ext uri="{9D8B030D-6E8A-4147-A177-3AD203B41FA5}">
                      <a16:colId xmlns:a16="http://schemas.microsoft.com/office/drawing/2014/main" val="61049810"/>
                    </a:ext>
                  </a:extLst>
                </a:gridCol>
                <a:gridCol w="5187461">
                  <a:extLst>
                    <a:ext uri="{9D8B030D-6E8A-4147-A177-3AD203B41FA5}">
                      <a16:colId xmlns:a16="http://schemas.microsoft.com/office/drawing/2014/main" val="385410762"/>
                    </a:ext>
                  </a:extLst>
                </a:gridCol>
              </a:tblGrid>
              <a:tr h="328940">
                <a:tc>
                  <a:txBody>
                    <a:bodyPr/>
                    <a:lstStyle/>
                    <a:p>
                      <a:r>
                        <a:rPr lang="de-DE" dirty="0"/>
                        <a:t>Zu bewertender Fak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ewertung 1-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9401115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Übersichtlichkeit der Applik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6657022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Einfachheit der Struktu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8695747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Einfachheit der Bedien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1205891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Verständlichkeit der Erklär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576185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Glaubwürdig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74428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Nachvollziehbar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77008907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Verständlichkeit der Vorhersa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36781407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Nützlichkeit im Allt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73855123"/>
                  </a:ext>
                </a:extLst>
              </a:tr>
              <a:tr h="328940">
                <a:tc>
                  <a:txBody>
                    <a:bodyPr/>
                    <a:lstStyle/>
                    <a:p>
                      <a:r>
                        <a:rPr lang="de-DE" sz="1200" dirty="0"/>
                        <a:t>Verwendbarkeit im Allt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358079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61069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2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USWERTUNG DER FUNKTIONALITÄ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bzgl. Nutzbarkeit im täglichen Geschäft erhalten</a:t>
            </a:r>
          </a:p>
        </p:txBody>
      </p:sp>
      <p:graphicFrame>
        <p:nvGraphicFramePr>
          <p:cNvPr id="3" name="Tabelle 3">
            <a:extLst>
              <a:ext uri="{FF2B5EF4-FFF2-40B4-BE49-F238E27FC236}">
                <a16:creationId xmlns:a16="http://schemas.microsoft.com/office/drawing/2014/main" id="{6A11B461-7F3D-5D49-B07E-1BBBEB10B0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528282"/>
              </p:ext>
            </p:extLst>
          </p:nvPr>
        </p:nvGraphicFramePr>
        <p:xfrm>
          <a:off x="438600" y="1241620"/>
          <a:ext cx="8266800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61465">
                  <a:extLst>
                    <a:ext uri="{9D8B030D-6E8A-4147-A177-3AD203B41FA5}">
                      <a16:colId xmlns:a16="http://schemas.microsoft.com/office/drawing/2014/main" val="2926912899"/>
                    </a:ext>
                  </a:extLst>
                </a:gridCol>
                <a:gridCol w="826477">
                  <a:extLst>
                    <a:ext uri="{9D8B030D-6E8A-4147-A177-3AD203B41FA5}">
                      <a16:colId xmlns:a16="http://schemas.microsoft.com/office/drawing/2014/main" val="4034516113"/>
                    </a:ext>
                  </a:extLst>
                </a:gridCol>
                <a:gridCol w="678858">
                  <a:extLst>
                    <a:ext uri="{9D8B030D-6E8A-4147-A177-3AD203B41FA5}">
                      <a16:colId xmlns:a16="http://schemas.microsoft.com/office/drawing/2014/main" val="9335949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J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e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413134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Vertrauen Sie den Vorhersagen der Applikatio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959266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Können Sie </a:t>
                      </a: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die Vorhersagen nachvollziehe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285768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Wirken die Vorhersagen für Sie realistisch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394076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Wirken die Vorhersagen für Sie glaubwürdig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671143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Sind die Erklärungen in der App für Sie verständlich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81240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Ist die Bedienung der App für Sie intuitiv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519074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Könnten Sie sich vorstellen eine solche Applikation bei der Menüplanung zu verwenden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595153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20030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3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FEEDBACK FÜR DIE WEITERENTWICKLUNG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Potenzial für die Weiterentwicklung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Feedback für die Weiterentwicklung erhalten</a:t>
            </a:r>
          </a:p>
        </p:txBody>
      </p:sp>
    </p:spTree>
    <p:extLst>
      <p:ext uri="{BB962C8B-B14F-4D97-AF65-F5344CB8AC3E}">
        <p14:creationId xmlns:p14="http://schemas.microsoft.com/office/powerpoint/2010/main" val="4377646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WI3 Layout">
  <a:themeElements>
    <a:clrScheme name="Benutzerdefiniert 1">
      <a:dk1>
        <a:sysClr val="windowText" lastClr="000000"/>
      </a:dk1>
      <a:lt1>
        <a:sysClr val="window" lastClr="FFFFFF"/>
      </a:lt1>
      <a:dk2>
        <a:srgbClr val="00802F"/>
      </a:dk2>
      <a:lt2>
        <a:srgbClr val="CCCCCC"/>
      </a:lt2>
      <a:accent1>
        <a:srgbClr val="00802F"/>
      </a:accent1>
      <a:accent2>
        <a:srgbClr val="ACCC3D"/>
      </a:accent2>
      <a:accent3>
        <a:srgbClr val="0067B1"/>
      </a:accent3>
      <a:accent4>
        <a:srgbClr val="95C7E8"/>
      </a:accent4>
      <a:accent5>
        <a:srgbClr val="666666"/>
      </a:accent5>
      <a:accent6>
        <a:srgbClr val="999999"/>
      </a:accent6>
      <a:hlink>
        <a:srgbClr val="95C7E8"/>
      </a:hlink>
      <a:folHlink>
        <a:srgbClr val="000000"/>
      </a:folHlink>
    </a:clrScheme>
    <a:fontScheme name="UNISG CD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 Template" id="{EB35C314-6BC3-9940-958B-8629B7D17C73}" vid="{8F6522FF-69EC-7847-9AD7-D5785246780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2A1F3827DA71F448DAC5F4A257F5665" ma:contentTypeVersion="2" ma:contentTypeDescription="Ein neues Dokument erstellen." ma:contentTypeScope="" ma:versionID="1e717dbfa7b7207dfac07c69acddd338">
  <xsd:schema xmlns:xsd="http://www.w3.org/2001/XMLSchema" xmlns:xs="http://www.w3.org/2001/XMLSchema" xmlns:p="http://schemas.microsoft.com/office/2006/metadata/properties" xmlns:ns2="3f370a08-1e6d-4642-a4b6-b6d852aed5f0" targetNamespace="http://schemas.microsoft.com/office/2006/metadata/properties" ma:root="true" ma:fieldsID="1ec3ffebd306b5464ea0dbf21c509c56" ns2:_="">
    <xsd:import namespace="3f370a08-1e6d-4642-a4b6-b6d852aed5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370a08-1e6d-4642-a4b6-b6d852aed5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E366B1C-28CE-4544-97EB-72C55EF781EC}">
  <ds:schemaRefs>
    <ds:schemaRef ds:uri="3f370a08-1e6d-4642-a4b6-b6d852aed5f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DBBB883-F70B-43A4-B01A-B7F597F7B7EF}">
  <ds:schemaRefs>
    <ds:schemaRef ds:uri="3f370a08-1e6d-4642-a4b6-b6d852aed5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27BC059-E0DB-465B-8EBC-D93BDF57261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WI3 Layout</Template>
  <TotalTime>0</TotalTime>
  <Words>523</Words>
  <Application>Microsoft Macintosh PowerPoint</Application>
  <PresentationFormat>Bildschirmpräsentation (16:9)</PresentationFormat>
  <Paragraphs>111</Paragraphs>
  <Slides>11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Helvetica</vt:lpstr>
      <vt:lpstr>IWI3 Layout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xer, NicoleSarina</dc:creator>
  <cp:lastModifiedBy>Philipp Schmelzer</cp:lastModifiedBy>
  <cp:revision>35</cp:revision>
  <cp:lastPrinted>2020-03-29T12:41:23Z</cp:lastPrinted>
  <dcterms:created xsi:type="dcterms:W3CDTF">2019-10-08T08:06:46Z</dcterms:created>
  <dcterms:modified xsi:type="dcterms:W3CDTF">2021-05-23T16:40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A1F3827DA71F448DAC5F4A257F5665</vt:lpwstr>
  </property>
</Properties>
</file>